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88" d="100"/>
          <a:sy n="88" d="100"/>
        </p:scale>
        <p:origin x="1334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8/05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8/05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8 May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88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lang="fr-FR" dirty="1" kumimoji="0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EUR ET AVANTAGE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lang="fr-FR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r>
                <a:rPr lang="fr-FR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23076" cy="923330"/>
          </a:xfrm>
        </p:spPr>
        <p:txBody>
          <a:bodyPr/>
          <a:lstStyle/>
          <a:p>
            <a:r>
              <a:rPr lang="fr-FR" dirty="1"/>
              <a:t>Sécurité des opérateurs et qualité du produit renforcée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pPr eaLnBrk="1" hangingPunct="1"/>
            <a:r>
              <a:rPr lang="fr-FR" dirty="1"/>
              <a:t>Éclairage à LED pour SBO Series 2, Universal, Matrix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796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fr-FR" dirty="1" sz="800">
                <a:solidFill>
                  <a:srgbClr val="000000"/>
                </a:solidFill>
              </a:rPr>
              <a:t>Valeur </a:t>
            </a:r>
            <a:r>
              <a:rPr lang="fr-FR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</a:t>
            </a:r>
            <a:r>
              <a:rPr lang="fr-FR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fr-FR" dirty="1" sz="800">
                <a:solidFill>
                  <a:srgbClr val="000000"/>
                </a:solidFill>
              </a:rPr>
              <a:t>sécurité et ergonomie, qualité du produi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</a:t>
            </a:r>
            <a:r>
              <a:rPr lang="fr-FR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fr-FR" dirty="1" sz="800">
                <a:solidFill>
                  <a:srgbClr val="000000"/>
                </a:solidFill>
              </a:rPr>
              <a:t>souffleuse S2, Universal, Matrx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</a:t>
            </a:r>
            <a:r>
              <a:rPr lang="fr-F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fr-F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4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3674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dirty="1" sz="1200">
                <a:solidFill>
                  <a:srgbClr val="000000"/>
                </a:solidFill>
              </a:rPr>
              <a:t>L'éclairage continue à fonctionner même si la machine est hors tension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dirty="1" sz="1200">
                <a:solidFill>
                  <a:srgbClr val="000000"/>
                </a:solidFill>
              </a:rPr>
              <a:t>Pas d'ampoule en verr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dirty="1" sz="1200">
                <a:solidFill>
                  <a:srgbClr val="000000"/>
                </a:solidFill>
              </a:rPr>
              <a:t>Économique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fr-FR" dirty="1" sz="1200">
                <a:solidFill>
                  <a:srgbClr val="000000"/>
                </a:solidFill>
                <a:latin typeface="Arial"/>
              </a:rPr>
              <a:t>Éclairage de meilleure qualité : 1 200 lumens par barre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fr-FR" dirty="1" sz="1200">
                <a:solidFill>
                  <a:srgbClr val="000000"/>
                </a:solidFill>
                <a:latin typeface="Arial"/>
              </a:rPr>
              <a:t>Flux lumineux homogène qui n'éblouit pas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fr-FR" dirty="1" baseline="0" sz="1200">
                <a:solidFill>
                  <a:srgbClr val="000000"/>
                </a:solidFill>
                <a:latin typeface="Arial"/>
              </a:rPr>
              <a:t>Alimentation</a:t>
            </a:r>
            <a:r>
              <a:rPr lang="fr-FR" dirty="1" sz="1200">
                <a:solidFill>
                  <a:srgbClr val="000000"/>
                </a:solidFill>
                <a:latin typeface="Arial"/>
              </a:rPr>
              <a:t> basse tension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fr-FR" dirty="1" sz="1200">
                <a:solidFill>
                  <a:srgbClr val="000000"/>
                </a:solidFill>
                <a:latin typeface="Arial"/>
              </a:rPr>
              <a:t>Interrupteur individuel Fort/Faible/Arrêt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fr-FR" dirty="1" sz="1200">
                <a:solidFill>
                  <a:srgbClr val="000000"/>
                </a:solidFill>
                <a:latin typeface="Arial"/>
              </a:rPr>
              <a:t>Fixation magnétique ou à vis</a:t>
            </a:r>
            <a:r>
              <a:rPr lang="fr-FR" dirty="1" sz="120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fr-FR" dirty="1" sz="1200">
                <a:solidFill>
                  <a:srgbClr val="000000"/>
                </a:solidFill>
                <a:latin typeface="Arial"/>
              </a:rPr>
              <a:t>Aucun coût ni temps de maintenance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fr-FR" dirty="1" sz="1200">
                <a:solidFill>
                  <a:srgbClr val="000000"/>
                </a:solidFill>
                <a:latin typeface="Arial"/>
              </a:rPr>
              <a:t>Longue durée de vie</a:t>
            </a:r>
          </a:p>
          <a:p>
            <a:pPr marR="0" lvl="0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tabLst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dirty="1" sz="1200">
                <a:solidFill>
                  <a:srgbClr val="000000"/>
                </a:solidFill>
              </a:rPr>
              <a:t>Ensemble de barres d'éclairage à LED (6 à 11 unités en fonction de la taille de la machine)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dirty="1" sz="1200">
                <a:solidFill>
                  <a:srgbClr val="000000"/>
                </a:solidFill>
              </a:rPr>
              <a:t>Équerres de fixation incluse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dirty="1" sz="1200">
                <a:solidFill>
                  <a:srgbClr val="000000"/>
                </a:solidFill>
              </a:rPr>
              <a:t>Nouvelle alimentation de 24 V avec jeu de câble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dirty="1" sz="1200">
                <a:solidFill>
                  <a:srgbClr val="000000"/>
                </a:solidFill>
              </a:rPr>
              <a:t>Option : éclairage pour les cellules de l'armoire électriqu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7" name="Image 16" descr="https://www.lcautomation.com/Images/ocw/5255_1200_630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66" t="4628" r="39430" b="3946"/>
          <a:stretch/>
        </p:blipFill>
        <p:spPr bwMode="auto">
          <a:xfrm rot="7366588">
            <a:off x="6474812" y="3664760"/>
            <a:ext cx="442525" cy="220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125</Words>
  <Application>Microsoft Office PowerPoint</Application>
  <PresentationFormat>Affichage à l'écran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Increase operator safety and secure product qua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4</cp:revision>
  <dcterms:created xsi:type="dcterms:W3CDTF">2018-02-10T17:04:39Z</dcterms:created>
  <dcterms:modified xsi:type="dcterms:W3CDTF">2018-05-28T12:2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